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  <p:sldMasterId id="2147483958" r:id="rId3"/>
  </p:sldMasterIdLst>
  <p:notesMasterIdLst>
    <p:notesMasterId r:id="rId5"/>
  </p:notesMasterIdLst>
  <p:sldIdLst>
    <p:sldId id="372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53565A"/>
    <a:srgbClr val="86BC25"/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17" autoAdjust="0"/>
    <p:restoredTop sz="96051" autoAdjust="0"/>
  </p:normalViewPr>
  <p:slideViewPr>
    <p:cSldViewPr snapToGrid="0" showGuides="1">
      <p:cViewPr varScale="1">
        <p:scale>
          <a:sx n="111" d="100"/>
          <a:sy n="111" d="100"/>
        </p:scale>
        <p:origin x="19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40373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D8A3C8F-27AF-49F3-AF8F-A2491A99944E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196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250988A-35F8-4D53-9901-DC6A1B6FD862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775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0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12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58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723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tags" Target="../tags/tag17.xml"/><Relationship Id="rId4" Type="http://schemas.openxmlformats.org/officeDocument/2006/relationships/vmlDrawing" Target="../drawings/vmlDrawing16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vmlDrawing" Target="../drawings/vmlDrawing19.v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18" imgW="563" imgH="564" progId="TCLayout.ActiveDocument.1">
                  <p:embed/>
                </p:oleObj>
              </mc:Choice>
              <mc:Fallback>
                <p:oleObj name="think-cell スライド" r:id="rId18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6" imgW="563" imgH="564" progId="TCLayout.ActiveDocument.1">
                  <p:embed/>
                </p:oleObj>
              </mc:Choice>
              <mc:Fallback>
                <p:oleObj name="think-cell スライド" r:id="rId6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スライド" r:id="rId22" imgW="563" imgH="564" progId="TCLayout.ActiveDocument.1">
                  <p:embed/>
                </p:oleObj>
              </mc:Choice>
              <mc:Fallback>
                <p:oleObj name="think-cell スライド" r:id="rId22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7" r:id="rId18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20EB958-683C-D47C-5F3D-A3A9B0497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ご提出書類について（高効率ボイラーの導入）</a:t>
            </a:r>
            <a:endParaRPr kumimoji="1" lang="ja-JP" altLang="en-US" dirty="0"/>
          </a:p>
        </p:txBody>
      </p:sp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BB4B1CCB-D905-16F6-6698-6C6B7CA3F1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653681"/>
              </p:ext>
            </p:extLst>
          </p:nvPr>
        </p:nvGraphicFramePr>
        <p:xfrm>
          <a:off x="657073" y="1636663"/>
          <a:ext cx="8847318" cy="4357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5091">
                  <a:extLst>
                    <a:ext uri="{9D8B030D-6E8A-4147-A177-3AD203B41FA5}">
                      <a16:colId xmlns:a16="http://schemas.microsoft.com/office/drawing/2014/main" val="3955721475"/>
                    </a:ext>
                  </a:extLst>
                </a:gridCol>
                <a:gridCol w="3065091">
                  <a:extLst>
                    <a:ext uri="{9D8B030D-6E8A-4147-A177-3AD203B41FA5}">
                      <a16:colId xmlns:a16="http://schemas.microsoft.com/office/drawing/2014/main" val="2548736246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897713880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189028761"/>
                    </a:ext>
                  </a:extLst>
                </a:gridCol>
              </a:tblGrid>
              <a:tr h="20040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確認させていただく項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左記をご確認するに当たって</a:t>
                      </a:r>
                      <a:b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をお願いする書類等</a:t>
                      </a:r>
                      <a:endParaRPr kumimoji="1" lang="en-US" altLang="ja-JP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タイミング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396312"/>
                  </a:ext>
                </a:extLst>
              </a:tr>
              <a:tr h="334013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会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モニタリング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50861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、</a:t>
                      </a:r>
                      <a:endParaRPr kumimoji="1" lang="en-US" altLang="ja-JP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仕様書、カタログ、給湯器銘板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299781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品書・施工会社の請求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5537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用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現地で目視または配管図面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6682211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備投資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工事契約書、請求書・領収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3961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交付決定通知書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74009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流量計の積算計データ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333870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単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請求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9245140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ンテナンス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請求書等（更新後の累積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88592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ーカー、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、</a:t>
                      </a:r>
                      <a:b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仕様書、</a:t>
                      </a:r>
                      <a:br>
                        <a:rPr kumimoji="1" lang="en-US" altLang="ja-JP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カタログ、給湯器銘板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057628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7313" indent="0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品書、</a:t>
                      </a:r>
                      <a:b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請求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3566697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用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配管図面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656871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流量計の積算計データ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276728"/>
                  </a:ext>
                </a:extLst>
              </a:tr>
            </a:tbl>
          </a:graphicData>
        </a:graphic>
      </p:graphicFrame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EB9D9BB2-C1E5-1A35-EEDD-7318B31158F5}"/>
              </a:ext>
            </a:extLst>
          </p:cNvPr>
          <p:cNvGrpSpPr/>
          <p:nvPr/>
        </p:nvGrpSpPr>
        <p:grpSpPr>
          <a:xfrm>
            <a:off x="480386" y="4621353"/>
            <a:ext cx="148051" cy="1372683"/>
            <a:chOff x="466412" y="1765005"/>
            <a:chExt cx="110466" cy="1117895"/>
          </a:xfrm>
        </p:grpSpPr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540E39FA-6E8E-9CA8-633A-696DEF2A71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5" y="1765005"/>
              <a:ext cx="0" cy="1117895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F166BF46-A814-96A3-BDC0-B82BCE639373}"/>
                </a:ext>
              </a:extLst>
            </p:cNvPr>
            <p:cNvSpPr/>
            <p:nvPr/>
          </p:nvSpPr>
          <p:spPr bwMode="gray">
            <a:xfrm>
              <a:off x="466412" y="1961398"/>
              <a:ext cx="110466" cy="72510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前</a:t>
              </a:r>
            </a:p>
          </p:txBody>
        </p:sp>
      </p:grp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BA4591D-BED9-0F67-EDD1-9862EE480211}"/>
              </a:ext>
            </a:extLst>
          </p:cNvPr>
          <p:cNvGrpSpPr/>
          <p:nvPr/>
        </p:nvGrpSpPr>
        <p:grpSpPr>
          <a:xfrm>
            <a:off x="417000" y="2266656"/>
            <a:ext cx="211445" cy="2225675"/>
            <a:chOff x="415923" y="3022600"/>
            <a:chExt cx="211445" cy="2225675"/>
          </a:xfrm>
        </p:grpSpPr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5DEDA5C0-F7E7-E194-D27B-635F04260F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5" y="3022600"/>
              <a:ext cx="0" cy="2225675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003F57AF-BBD6-6D1F-97A6-C0A9DA8A77B4}"/>
                </a:ext>
              </a:extLst>
            </p:cNvPr>
            <p:cNvSpPr/>
            <p:nvPr/>
          </p:nvSpPr>
          <p:spPr bwMode="gray">
            <a:xfrm>
              <a:off x="415923" y="3827637"/>
              <a:ext cx="211445" cy="615601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後</a:t>
              </a:r>
            </a:p>
          </p:txBody>
        </p:sp>
      </p:grp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5547D78-D862-7224-F406-F7221A6B1295}"/>
              </a:ext>
            </a:extLst>
          </p:cNvPr>
          <p:cNvSpPr txBox="1"/>
          <p:nvPr/>
        </p:nvSpPr>
        <p:spPr bwMode="gray">
          <a:xfrm>
            <a:off x="642759" y="6148509"/>
            <a:ext cx="886163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4775" marR="0" indent="-104775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>
                <a:tab pos="180975" algn="l"/>
              </a:tabLst>
            </a:pPr>
            <a:r>
              <a:rPr kumimoji="1" lang="en-US" altLang="ja-JP" sz="11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※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更新前設備のデータが揃っていない場合においても、新設の取扱いとしてご参加が可能な場合がありますので、お気軽に事務局までお問合せください。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2C504F5-EE0F-AE71-D4B6-36E8CF9C4FD4}"/>
              </a:ext>
            </a:extLst>
          </p:cNvPr>
          <p:cNvSpPr txBox="1"/>
          <p:nvPr/>
        </p:nvSpPr>
        <p:spPr bwMode="gray">
          <a:xfrm>
            <a:off x="641682" y="954475"/>
            <a:ext cx="88473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「左記をご確認するにあたって提出をお願いする書類等」について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必ずしもここに記載の書類でなくとも、「確認項目」の根拠となる書類であれば、受付可能である場合があります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詳細な提出必要書類についてのご連絡は、入会申込後、事務局より参加事業者へ個別連絡させていただきます。</a:t>
            </a:r>
          </a:p>
        </p:txBody>
      </p:sp>
    </p:spTree>
    <p:extLst>
      <p:ext uri="{BB962C8B-B14F-4D97-AF65-F5344CB8AC3E}">
        <p14:creationId xmlns:p14="http://schemas.microsoft.com/office/powerpoint/2010/main" val="4071297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5829B228-F417-4B8D-8A59-38664B27307B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7C99FE54-6E1C-4473-9BDC-2F53E223FAD5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1)</Template>
  <TotalTime>0</TotalTime>
  <Words>294</Words>
  <Application>Microsoft Office PowerPoint</Application>
  <PresentationFormat>A4 210 x 297 mm</PresentationFormat>
  <Paragraphs>48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Meiryo UI</vt:lpstr>
      <vt:lpstr>Arial</vt:lpstr>
      <vt:lpstr>Calibri</vt:lpstr>
      <vt:lpstr>Calibri Light</vt:lpstr>
      <vt:lpstr>Segoe UI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ご提出書類について（高効率ボイラーの導入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3-12-06T06:05:25Z</dcterms:created>
  <dcterms:modified xsi:type="dcterms:W3CDTF">2023-12-07T10:07:00Z</dcterms:modified>
</cp:coreProperties>
</file>